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7"/>
  </p:notesMasterIdLst>
  <p:handoutMasterIdLst>
    <p:handoutMasterId r:id="rId8"/>
  </p:handoutMasterIdLst>
  <p:sldIdLst>
    <p:sldId id="267" r:id="rId5"/>
    <p:sldId id="268" r:id="rId6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99" userDrawn="1">
          <p15:clr>
            <a:srgbClr val="A4A3A4"/>
          </p15:clr>
        </p15:guide>
        <p15:guide id="3" pos="2980" userDrawn="1">
          <p15:clr>
            <a:srgbClr val="A4A3A4"/>
          </p15:clr>
        </p15:guide>
        <p15:guide id="4" pos="599" userDrawn="1">
          <p15:clr>
            <a:srgbClr val="A4A3A4"/>
          </p15:clr>
        </p15:guide>
        <p15:guide id="5" orient="horz" pos="1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5425"/>
    <a:srgbClr val="EEAA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6" autoAdjust="0"/>
    <p:restoredTop sz="94670" autoAdjust="0"/>
  </p:normalViewPr>
  <p:slideViewPr>
    <p:cSldViewPr snapToGrid="0" showGuides="1">
      <p:cViewPr varScale="1">
        <p:scale>
          <a:sx n="78" d="100"/>
          <a:sy n="78" d="100"/>
        </p:scale>
        <p:origin x="1536" y="77"/>
      </p:cViewPr>
      <p:guideLst>
        <p:guide orient="horz" pos="2160"/>
        <p:guide pos="499"/>
        <p:guide pos="2980"/>
        <p:guide pos="599"/>
        <p:guide orient="horz" pos="109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89124B6-CC10-4D52-8236-7365127DB8E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FD7096-A2B4-45A6-AB36-9BD98FAF9A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AEA926-DEE4-4C12-8464-D579F0EEF8C4}" type="datetimeFigureOut">
              <a:rPr lang="de-DE" smtClean="0"/>
              <a:t>18.02.2018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84D2ED-F3FE-43FB-A48C-82E350C62AF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EB32DE0-45D8-47BA-BEBE-EF0C1C338F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802A0D-A500-40C2-B745-DE5C50AF62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89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193F0C-2CB8-43AF-A0E8-B8FF6FE75773}" type="datetimeFigureOut">
              <a:rPr lang="de-DE" smtClean="0"/>
              <a:t>18.02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A8E9CA-7EBE-48BD-9648-B0D3C8D8F90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503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94FC239-114D-49B2-8A1A-686B8A8A2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0699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94FC239-114D-49B2-8A1A-686B8A8A2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D67D0264-2F7D-4055-BBC5-49BEAF7FD2C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8734" y="0"/>
            <a:ext cx="4715266" cy="54772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4852" y="2205167"/>
            <a:ext cx="4918137" cy="1477328"/>
          </a:xfrm>
        </p:spPr>
        <p:txBody>
          <a:bodyPr anchor="b"/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4852" y="3990220"/>
            <a:ext cx="4938623" cy="338554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D5F9916-CCD7-46AE-8E33-516D061ED21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391" y="5062902"/>
            <a:ext cx="1216154" cy="1027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535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4099D6B-CB69-40D8-A002-47C5C55B4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781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4099D6B-CB69-40D8-A002-47C5C55B4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7608" y="263455"/>
            <a:ext cx="5685886" cy="492443"/>
          </a:xfrm>
        </p:spPr>
        <p:txBody>
          <a:bodyPr/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B165F3-1F0B-4DD1-864C-0D85FD0CD6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8238" y="932119"/>
            <a:ext cx="5685256" cy="43088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197301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4099D6B-CB69-40D8-A002-47C5C55B4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6009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4099D6B-CB69-40D8-A002-47C5C55B4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37608" y="1498600"/>
            <a:ext cx="6837992" cy="4368800"/>
          </a:xfrm>
        </p:spPr>
        <p:txBody>
          <a:bodyPr>
            <a:noAutofit/>
          </a:bodyPr>
          <a:lstStyle>
            <a:lvl1pPr marL="0" indent="0">
              <a:lnSpc>
                <a:spcPts val="2835"/>
              </a:lnSpc>
              <a:buNone/>
              <a:defRPr sz="1600" b="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B165F3-1F0B-4DD1-864C-0D85FD0CD6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8238" y="681741"/>
            <a:ext cx="5685256" cy="276999"/>
          </a:xfrm>
        </p:spPr>
        <p:txBody>
          <a:bodyPr wrap="square">
            <a:spAutoFit/>
          </a:bodyPr>
          <a:lstStyle>
            <a:lvl1pPr marL="0" indent="0">
              <a:lnSpc>
                <a:spcPts val="2126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1" name="Foliennummernplatzhalter 11">
            <a:extLst>
              <a:ext uri="{FF2B5EF4-FFF2-40B4-BE49-F238E27FC236}">
                <a16:creationId xmlns:a16="http://schemas.microsoft.com/office/drawing/2014/main" id="{ABD6D986-721A-4E40-92FF-DD4977ECF3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37607" y="6343926"/>
            <a:ext cx="3412621" cy="26370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RAMSES Kick-off Meeting  17 February 2018</a:t>
            </a:r>
          </a:p>
        </p:txBody>
      </p:sp>
    </p:spTree>
    <p:extLst>
      <p:ext uri="{BB962C8B-B14F-4D97-AF65-F5344CB8AC3E}">
        <p14:creationId xmlns:p14="http://schemas.microsoft.com/office/powerpoint/2010/main" val="2854708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4099D6B-CB69-40D8-A002-47C5C55B4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8627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4099D6B-CB69-40D8-A002-47C5C55B4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6">
            <a:extLst>
              <a:ext uri="{FF2B5EF4-FFF2-40B4-BE49-F238E27FC236}">
                <a16:creationId xmlns:a16="http://schemas.microsoft.com/office/drawing/2014/main" id="{96375AC7-671E-44B8-A8E1-CA9557466A2F}"/>
              </a:ext>
            </a:extLst>
          </p:cNvPr>
          <p:cNvSpPr/>
          <p:nvPr userDrawn="1"/>
        </p:nvSpPr>
        <p:spPr>
          <a:xfrm>
            <a:off x="0" y="1619999"/>
            <a:ext cx="9144000" cy="5238115"/>
          </a:xfrm>
          <a:custGeom>
            <a:avLst/>
            <a:gdLst/>
            <a:ahLst/>
            <a:cxnLst/>
            <a:rect l="l" t="t" r="r" b="b"/>
            <a:pathLst>
              <a:path w="9144000" h="5238115">
                <a:moveTo>
                  <a:pt x="0" y="5238000"/>
                </a:moveTo>
                <a:lnTo>
                  <a:pt x="9144000" y="5238000"/>
                </a:lnTo>
                <a:lnTo>
                  <a:pt x="9144000" y="0"/>
                </a:lnTo>
                <a:lnTo>
                  <a:pt x="0" y="0"/>
                </a:lnTo>
                <a:lnTo>
                  <a:pt x="0" y="5238000"/>
                </a:lnTo>
                <a:close/>
              </a:path>
            </a:pathLst>
          </a:custGeom>
          <a:solidFill>
            <a:srgbClr val="99CB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38238" y="2725887"/>
            <a:ext cx="6815947" cy="1461939"/>
          </a:xfrm>
        </p:spPr>
        <p:txBody>
          <a:bodyPr anchor="b" anchorCtr="0">
            <a:spAutoFit/>
          </a:bodyPr>
          <a:lstStyle>
            <a:lvl1pPr marL="0" indent="0">
              <a:lnSpc>
                <a:spcPts val="5669"/>
              </a:lnSpc>
              <a:buNone/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B165F3-1F0B-4DD1-864C-0D85FD0CD6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8238" y="681741"/>
            <a:ext cx="5685256" cy="276999"/>
          </a:xfrm>
        </p:spPr>
        <p:txBody>
          <a:bodyPr wrap="square">
            <a:spAutoFit/>
          </a:bodyPr>
          <a:lstStyle>
            <a:lvl1pPr marL="0" indent="0">
              <a:lnSpc>
                <a:spcPts val="2126"/>
              </a:lnSpc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Subheadline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A67F9FD-4FB2-4C31-AF4B-38D1F85AA56A}"/>
              </a:ext>
            </a:extLst>
          </p:cNvPr>
          <p:cNvCxnSpPr>
            <a:cxnSpLocks/>
          </p:cNvCxnSpPr>
          <p:nvPr userDrawn="1"/>
        </p:nvCxnSpPr>
        <p:spPr>
          <a:xfrm>
            <a:off x="1137608" y="6105526"/>
            <a:ext cx="6815947" cy="0"/>
          </a:xfrm>
          <a:prstGeom prst="line">
            <a:avLst/>
          </a:prstGeom>
          <a:ln w="41275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11A8A0E-103C-46EE-BDD6-4CF39BE0A2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38238" y="4655344"/>
            <a:ext cx="6815317" cy="179536"/>
          </a:xfrm>
        </p:spPr>
        <p:txBody>
          <a:bodyPr>
            <a:spAutoFit/>
          </a:bodyPr>
          <a:lstStyle>
            <a:lvl1pPr marL="0" indent="0">
              <a:lnSpc>
                <a:spcPts val="1417"/>
              </a:lnSpc>
              <a:spcBef>
                <a:spcPts val="0"/>
              </a:spcBef>
              <a:buNone/>
              <a:defRPr sz="1600"/>
            </a:lvl1pPr>
            <a:lvl2pPr>
              <a:lnSpc>
                <a:spcPts val="1417"/>
              </a:lnSpc>
              <a:spcBef>
                <a:spcPts val="0"/>
              </a:spcBef>
              <a:defRPr sz="1600"/>
            </a:lvl2pPr>
            <a:lvl3pPr>
              <a:lnSpc>
                <a:spcPts val="1417"/>
              </a:lnSpc>
              <a:spcBef>
                <a:spcPts val="0"/>
              </a:spcBef>
              <a:defRPr sz="1600"/>
            </a:lvl3pPr>
            <a:lvl4pPr>
              <a:lnSpc>
                <a:spcPts val="1417"/>
              </a:lnSpc>
              <a:spcBef>
                <a:spcPts val="0"/>
              </a:spcBef>
              <a:defRPr sz="1600"/>
            </a:lvl4pPr>
            <a:lvl5pPr>
              <a:lnSpc>
                <a:spcPts val="1417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BD6D986-721A-4E40-92FF-DD4977ECF3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37607" y="6354812"/>
            <a:ext cx="3412621" cy="26370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RAMSES Kick-off Meeting  17 February 2018</a:t>
            </a:r>
          </a:p>
        </p:txBody>
      </p:sp>
      <p:sp>
        <p:nvSpPr>
          <p:cNvPr id="15" name="Foliennummernplatzhalter 11">
            <a:extLst>
              <a:ext uri="{FF2B5EF4-FFF2-40B4-BE49-F238E27FC236}">
                <a16:creationId xmlns:a16="http://schemas.microsoft.com/office/drawing/2014/main" id="{ABD6D986-721A-4E40-92FF-DD4977ECF355}"/>
              </a:ext>
            </a:extLst>
          </p:cNvPr>
          <p:cNvSpPr txBox="1">
            <a:spLocks/>
          </p:cNvSpPr>
          <p:nvPr userDrawn="1"/>
        </p:nvSpPr>
        <p:spPr>
          <a:xfrm>
            <a:off x="7081360" y="6361191"/>
            <a:ext cx="928396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  <a:latin typeface="+mj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28808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70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0A4AF03-DA37-45DA-A242-99CA6DF8A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54671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8" imgW="351" imgH="351" progId="TCLayout.ActiveDocument.1">
                  <p:embed/>
                </p:oleObj>
              </mc:Choice>
              <mc:Fallback>
                <p:oleObj name="think-cell Folie" r:id="rId8" imgW="351" imgH="35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0A4AF03-DA37-45DA-A242-99CA6DF8A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37608" y="328690"/>
            <a:ext cx="5685886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7608" y="1502529"/>
            <a:ext cx="6815947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2494F47-8266-429F-8113-C6DE4AD436F1}"/>
              </a:ext>
            </a:extLst>
          </p:cNvPr>
          <p:cNvCxnSpPr>
            <a:cxnSpLocks/>
          </p:cNvCxnSpPr>
          <p:nvPr userDrawn="1"/>
        </p:nvCxnSpPr>
        <p:spPr>
          <a:xfrm>
            <a:off x="1137608" y="6105526"/>
            <a:ext cx="6815947" cy="0"/>
          </a:xfrm>
          <a:prstGeom prst="line">
            <a:avLst/>
          </a:prstGeom>
          <a:ln w="412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>
            <a:extLst>
              <a:ext uri="{FF2B5EF4-FFF2-40B4-BE49-F238E27FC236}">
                <a16:creationId xmlns:a16="http://schemas.microsoft.com/office/drawing/2014/main" id="{8BFF3ECA-1091-4C1D-8EFF-481A7D0104A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539" y="281267"/>
            <a:ext cx="1188722" cy="93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28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73" r:id="rId4"/>
  </p:sldLayoutIdLst>
  <p:hf hdr="0" ftr="0" dt="0"/>
  <p:txStyles>
    <p:titleStyle>
      <a:lvl1pPr algn="l" defTabSz="914400" rtl="0" eaLnBrk="1" latinLnBrk="0" hangingPunct="1">
        <a:lnSpc>
          <a:spcPts val="2126"/>
        </a:lnSpc>
        <a:spcBef>
          <a:spcPct val="0"/>
        </a:spcBef>
        <a:buNone/>
        <a:defRPr sz="20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681038" indent="-681038" algn="l" defTabSz="914400" rtl="0" eaLnBrk="1" latinLnBrk="0" hangingPunct="1">
        <a:lnSpc>
          <a:spcPts val="4252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30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3" pos="712" userDrawn="1">
          <p15:clr>
            <a:srgbClr val="F26B43"/>
          </p15:clr>
        </p15:guide>
        <p15:guide id="4" pos="5024" userDrawn="1">
          <p15:clr>
            <a:srgbClr val="F26B43"/>
          </p15:clr>
        </p15:guide>
        <p15:guide id="5" orient="horz" pos="9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C2161-4A43-43CA-9DA0-D446EB0B16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34852" y="2943831"/>
            <a:ext cx="4918137" cy="738664"/>
          </a:xfrm>
        </p:spPr>
        <p:txBody>
          <a:bodyPr/>
          <a:lstStyle/>
          <a:p>
            <a:r>
              <a:rPr lang="de-DE" dirty="0"/>
              <a:t>The final Pitch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A3A8405E-B002-408B-9CF3-2C7EE0AD2C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34852" y="3990220"/>
            <a:ext cx="4938623" cy="660181"/>
          </a:xfrm>
        </p:spPr>
        <p:txBody>
          <a:bodyPr/>
          <a:lstStyle/>
          <a:p>
            <a:r>
              <a:rPr lang="de-DE" dirty="0"/>
              <a:t>General Informatio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32398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6E848B-55FD-44E1-AF05-523671DAD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15BA087-4653-47E6-9820-69D1806D91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2942178-701D-4A5D-AD05-FB084FB527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946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ergencyEye">
  <a:themeElements>
    <a:clrScheme name="EmergencyEye">
      <a:dk1>
        <a:srgbClr val="000000"/>
      </a:dk1>
      <a:lt1>
        <a:srgbClr val="FFFFFF"/>
      </a:lt1>
      <a:dk2>
        <a:srgbClr val="A6A6A6"/>
      </a:dk2>
      <a:lt2>
        <a:srgbClr val="FFFFFF"/>
      </a:lt2>
      <a:accent1>
        <a:srgbClr val="CCCCCC"/>
      </a:accent1>
      <a:accent2>
        <a:srgbClr val="367664"/>
      </a:accent2>
      <a:accent3>
        <a:srgbClr val="D25425"/>
      </a:accent3>
      <a:accent4>
        <a:srgbClr val="99CBC3"/>
      </a:accent4>
      <a:accent5>
        <a:srgbClr val="00A8A5"/>
      </a:accent5>
      <a:accent6>
        <a:srgbClr val="A6A6A6"/>
      </a:accent6>
      <a:hlink>
        <a:srgbClr val="000000"/>
      </a:hlink>
      <a:folHlink>
        <a:srgbClr val="000000"/>
      </a:folHlink>
    </a:clrScheme>
    <a:fontScheme name="Benutzerdefiniert 1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enutzerdefiniert 1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enutzerdefiniert 1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42112B02758647892B65FCDCFB4506" ma:contentTypeVersion="5" ma:contentTypeDescription="Ein neues Dokument erstellen." ma:contentTypeScope="" ma:versionID="f138227cb981745ed9636a2df6ba2d7e">
  <xsd:schema xmlns:xsd="http://www.w3.org/2001/XMLSchema" xmlns:xs="http://www.w3.org/2001/XMLSchema" xmlns:p="http://schemas.microsoft.com/office/2006/metadata/properties" xmlns:ns2="f61820a2-ca49-4745-b2fd-ee79da80bc9c" targetNamespace="http://schemas.microsoft.com/office/2006/metadata/properties" ma:root="true" ma:fieldsID="3e6dec22005e3ca7ff51a96531ad8b56" ns2:_="">
    <xsd:import namespace="f61820a2-ca49-4745-b2fd-ee79da80bc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1820a2-ca49-4745-b2fd-ee79da80bc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EDF8F6A-5DBD-4D24-A6E8-B0E8F5D94D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0A58A5-E9AE-4842-B2D5-E1132E333D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1820a2-ca49-4745-b2fd-ee79da80bc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68A3B95-840D-41BA-A691-A38281E15479}">
  <ds:schemaRefs>
    <ds:schemaRef ds:uri="http://www.w3.org/XML/1998/namespace"/>
    <ds:schemaRef ds:uri="http://purl.org/dc/terms/"/>
    <ds:schemaRef ds:uri="http://schemas.microsoft.com/office/infopath/2007/PartnerControls"/>
    <ds:schemaRef ds:uri="f61820a2-ca49-4745-b2fd-ee79da80bc9c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</Words>
  <Application>Microsoft Office PowerPoint</Application>
  <PresentationFormat>Bildschirmpräsentation (4:3)</PresentationFormat>
  <Paragraphs>2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6" baseType="lpstr">
      <vt:lpstr>Arial</vt:lpstr>
      <vt:lpstr>Calibri</vt:lpstr>
      <vt:lpstr>EmergencyEye</vt:lpstr>
      <vt:lpstr>think-cell Folie</vt:lpstr>
      <vt:lpstr>The final Pitch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velyn Klaiber</dc:creator>
  <cp:lastModifiedBy>Daniel Ziegelmayer</cp:lastModifiedBy>
  <cp:revision>141</cp:revision>
  <dcterms:created xsi:type="dcterms:W3CDTF">2017-10-17T12:17:00Z</dcterms:created>
  <dcterms:modified xsi:type="dcterms:W3CDTF">2018-02-18T09:0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42112B02758647892B65FCDCFB4506</vt:lpwstr>
  </property>
</Properties>
</file>